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9AEB65-5559-99D0-5D1B-93AB55537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538C72-164F-E7E7-DDE7-9C734B5455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339E4B-739A-A86C-B353-2DB10B782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Header Vertic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F9F781-1CEB-A19A-C98C-39840B3E80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319F4B-140A-D14F-D26D-43AF6529702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B5D371-E56A-3770-6A83-D9FB3F3DD5B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15C56BC-125A-189D-577D-26FB48AC4DF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Subtitle 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217257D-A197-F880-AAC0-E7AC8248B14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/>
          <a:lstStyle/>
          <a:p>
            <a:r>
              <a:rPr lang="en-US" dirty="0"/>
              <a:t>Lorem ipsum dolo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32A6B7-67F3-9195-49F2-2EED3042C47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/>
          <a:lstStyle/>
          <a:p>
            <a:r>
              <a:rPr lang="en-US" dirty="0"/>
              <a:t>Lorem ipsum dolor s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4DF670-493C-61AD-1748-A36A4C014B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1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00AEC27-E331-8670-420B-FDF1F846662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2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0B5A2AB-2FBB-A37F-75B3-20F8891E791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Header 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20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2</TotalTime>
  <Words>130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hree Header Vertica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1</cp:revision>
  <dcterms:created xsi:type="dcterms:W3CDTF">2025-07-09T10:57:17Z</dcterms:created>
  <dcterms:modified xsi:type="dcterms:W3CDTF">2025-10-22T09:35:42Z</dcterms:modified>
  <cp:category/>
</cp:coreProperties>
</file>